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453" r:id="rId2"/>
    <p:sldId id="454" r:id="rId3"/>
    <p:sldId id="455" r:id="rId4"/>
    <p:sldId id="456" r:id="rId5"/>
    <p:sldId id="457" r:id="rId6"/>
    <p:sldId id="458" r:id="rId7"/>
    <p:sldId id="459" r:id="rId8"/>
    <p:sldId id="460" r:id="rId9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53"/>
            <p14:sldId id="454"/>
            <p14:sldId id="455"/>
            <p14:sldId id="456"/>
            <p14:sldId id="457"/>
            <p14:sldId id="458"/>
            <p14:sldId id="459"/>
            <p14:sldId id="46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536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63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ECD6B88-662B-4F5A-8F06-E6FC6058C8F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33751D5-72F3-47FA-874A-C74EE75B542D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65066E5-5DA0-437B-9399-CEDE15662F34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D222611-B8A7-4EF8-A28E-0D6558AAC1E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AA4EB34-619E-4158-A5FE-5CA58C46632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DF910C1-1A96-46D3-B630-C7C878BEFAC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2A78D5-F0A9-4EAE-BD40-88EC0532AE78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05F8261-02BD-42AD-8C9F-A29CD2111CF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38037FA-D9F1-4320-B7FD-38D79E1AF7AA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D17BB1C-6453-409B-B1FB-3F3DD10DC7DA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A3159BD-E5DD-4A61-A841-BA52A757F01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1E53AA-F747-48BC-BD32-9599D624B1C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3006168-9B2C-404D-9FA4-1CB830FE2B64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9435D07-D28B-4F1E-B674-287D8BB91199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6915448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G </a:t>
                      </a:r>
                      <a:r>
                        <a:rPr lang="de-DE" sz="2400" b="1" dirty="0" err="1" smtClean="0"/>
                        <a:t>Plausibilisierungen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25521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B9DB57A-BDB4-4817-A086-E2FE7A7A4C58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Was kann plausibilisiert </a:t>
            </a:r>
            <a:r>
              <a:rPr lang="de-DE" dirty="0" smtClean="0"/>
              <a:t>werden?</a:t>
            </a:r>
            <a:endParaRPr lang="de-DE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4763282"/>
              </p:ext>
            </p:extLst>
          </p:nvPr>
        </p:nvGraphicFramePr>
        <p:xfrm>
          <a:off x="935596" y="1772816"/>
          <a:ext cx="7200800" cy="374441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600400"/>
                <a:gridCol w="3600400"/>
              </a:tblGrid>
              <a:tr h="450317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ertemeng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truktur</a:t>
                      </a:r>
                      <a:endParaRPr lang="de-DE" sz="1600" dirty="0"/>
                    </a:p>
                  </a:txBody>
                  <a:tcPr/>
                </a:tc>
              </a:tr>
              <a:tr h="999334"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Bereich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de-DE" sz="1600" baseline="0" dirty="0" smtClean="0"/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Versicherungssumme: 0 – 1Mio Euro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st die Kombination der im Vertrag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enthaltenen</a:t>
                      </a:r>
                      <a:r>
                        <a:rPr lang="de-DE" sz="1600" baseline="0" dirty="0" smtClean="0"/>
                        <a:t> Deckungen erlaubt?</a:t>
                      </a:r>
                      <a:endParaRPr lang="de-DE" sz="1600" dirty="0"/>
                    </a:p>
                  </a:txBody>
                  <a:tcPr/>
                </a:tc>
              </a:tr>
              <a:tr h="999334"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Aufzählung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de-DE" sz="1600" baseline="0" dirty="0" smtClean="0"/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Selbstbehalt: 0, 150, 300 Euro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Darf</a:t>
                      </a:r>
                      <a:r>
                        <a:rPr lang="de-DE" sz="1600" baseline="0" dirty="0" smtClean="0"/>
                        <a:t> die Deckung Invalidität bei einem Alter größer 60 abgeschlossen werden?</a:t>
                      </a:r>
                      <a:endParaRPr lang="de-DE" sz="1600" dirty="0"/>
                    </a:p>
                  </a:txBody>
                  <a:tcPr/>
                </a:tc>
              </a:tr>
              <a:tr h="1295432">
                <a:tc>
                  <a:txBody>
                    <a:bodyPr/>
                    <a:lstStyle/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Andere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dirty="0" smtClean="0"/>
                        <a:t>  - </a:t>
                      </a:r>
                      <a:r>
                        <a:rPr lang="de-DE" sz="1600" baseline="0" dirty="0" smtClean="0"/>
                        <a:t>z. B. alle Strings, die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einem regulären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de-DE" sz="1600" baseline="0" dirty="0" smtClean="0"/>
                        <a:t>    Ausdruck genü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977898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DE457DE-3AFA-4A31-A004-8DF9EA143923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spekte einer Plausibilisierung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085640"/>
              </p:ext>
            </p:extLst>
          </p:nvPr>
        </p:nvGraphicFramePr>
        <p:xfrm>
          <a:off x="1514872" y="1664804"/>
          <a:ext cx="6096000" cy="3662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uskun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rüfung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Welche Selbstbehalte sind möglich? 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st der im Vertrag vereinbarte Selbstbehalt in der Menge der erlaubten SB enthalten?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In welchem Bereich muss die Versicherungssumme liegen?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iegt die im Vertrag vereinbarte Versicherungssumme im erlaubten Bereich?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Kann eine bestimmte Deckung zu einem Vertrag hinzugefügt werd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Ist die Kombination der im Vertrag enthaltenen Deckungen erlaubt?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>
                          <a:solidFill>
                            <a:schemeClr val="tx1"/>
                          </a:solidFill>
                        </a:rPr>
                        <a:t>Wieviele</a:t>
                      </a: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 Monate darf der Versicherungsbeginn in der Zukunft lieg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>
                          <a:solidFill>
                            <a:schemeClr val="tx1"/>
                          </a:solidFill>
                        </a:rPr>
                        <a:t>Liegt Versicherungsbeginn des Vertrags im erlaubten Bereich?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47464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9913866-3571-4774-ABF4-C84E323B9EA6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Prüfungen in Faktor-IPS</a:t>
            </a: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412875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llgem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bildet Prüfungen über Regeln ab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Regel hat einen Namen, eine Nachricht, ein Fehlercode und ein Schweregrad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Logik einer Regel ist </a:t>
            </a:r>
            <a:r>
              <a:rPr lang="de-DE" dirty="0" smtClean="0"/>
              <a:t>standardmäßig im </a:t>
            </a:r>
            <a:r>
              <a:rPr lang="de-DE" dirty="0"/>
              <a:t>Java Code zu implementier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Regeln sind immer einer Vertragsklasse zugeordne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sregeln können vollständig generiert werden</a:t>
            </a:r>
          </a:p>
          <a:p>
            <a:pPr marL="423948" indent="-34290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Konfiguration </a:t>
            </a:r>
            <a:r>
              <a:rPr lang="de-DE" dirty="0"/>
              <a:t>von </a:t>
            </a:r>
            <a:r>
              <a:rPr lang="de-DE" dirty="0" smtClean="0"/>
              <a:t>Regeln über Produktinformationen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 Regeln können Produktattribute ausgewerte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sregeln können über die Angabe einer Wertemenge </a:t>
            </a:r>
            <a:br>
              <a:rPr lang="de-DE" dirty="0"/>
            </a:br>
            <a:r>
              <a:rPr lang="de-DE" dirty="0"/>
              <a:t>im Produktbaustein konfigurier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Regeln können produktseitig aus- und eingeschaltet wer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Die Bedingung kann auch über eine Formeln abgebildet werden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233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3FD6D17-F411-43FC-B06D-BD10CF0E6AD0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193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Faktor-IPS </a:t>
            </a:r>
            <a:r>
              <a:rPr lang="de-DE" dirty="0" err="1"/>
              <a:t>Generat</a:t>
            </a:r>
            <a:r>
              <a:rPr lang="de-DE" dirty="0"/>
              <a:t> von Regeln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449388"/>
            <a:ext cx="7280275" cy="4246562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für eine Regel eine Methode mit dem Namen der Regel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generierte Methode enthält die Parameter vom Typ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/>
              <a:t> und </a:t>
            </a:r>
            <a:r>
              <a:rPr lang="de-DE" dirty="0" err="1">
                <a:latin typeface="Courier New" pitchFamily="49" charset="0"/>
              </a:rPr>
              <a:t>IValidationContext</a:t>
            </a:r>
            <a:endParaRPr lang="de-DE" dirty="0">
              <a:latin typeface="Courier New" pitchFamily="49" charset="0"/>
            </a:endParaRP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 die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/>
              <a:t> wird die Fehlermeldung der Regel eingetrag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er 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/>
              <a:t> kann in Form von </a:t>
            </a:r>
            <a:r>
              <a:rPr lang="de-DE" dirty="0" err="1"/>
              <a:t>key</a:t>
            </a:r>
            <a:r>
              <a:rPr lang="de-DE" dirty="0"/>
              <a:t>/</a:t>
            </a:r>
            <a:r>
              <a:rPr lang="de-DE" dirty="0" err="1"/>
              <a:t>value</a:t>
            </a:r>
            <a:r>
              <a:rPr lang="de-DE" dirty="0"/>
              <a:t> Paaren </a:t>
            </a:r>
            <a:br>
              <a:rPr lang="de-DE" dirty="0"/>
            </a:br>
            <a:r>
              <a:rPr lang="de-DE" dirty="0"/>
              <a:t>Informationen enthalten, die in der Regel ausgewertet werden können. </a:t>
            </a:r>
            <a:br>
              <a:rPr lang="de-DE" dirty="0"/>
            </a:br>
            <a:r>
              <a:rPr lang="de-DE" dirty="0"/>
              <a:t>Z.B. Benutzer, Geschäftsprozess,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3622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0737701-B169-4DAE-9D4A-682B5A2C9318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ktor-IPS Regel Framework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1412875"/>
            <a:ext cx="8637587" cy="4608513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Faktor-IPS Laufzeit Bibliothek enthält Basisklassen in denen ein Regelframework implementiert ist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Jede Vertragsteilklasse implementiert das </a:t>
            </a:r>
            <a:r>
              <a:rPr lang="de-DE" dirty="0" err="1">
                <a:latin typeface="Courier New" pitchFamily="49" charset="0"/>
              </a:rPr>
              <a:t>IModelObject</a:t>
            </a:r>
            <a:r>
              <a:rPr lang="de-DE" dirty="0"/>
              <a:t> </a:t>
            </a:r>
            <a:r>
              <a:rPr lang="de-DE" dirty="0" err="1"/>
              <a:t>Inferface</a:t>
            </a:r>
            <a:r>
              <a:rPr lang="de-DE" dirty="0"/>
              <a:t> und hat somit eine Methode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Standard Implementierung von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ruft zuerst die Methode </a:t>
            </a:r>
            <a:r>
              <a:rPr lang="de-DE" dirty="0" err="1">
                <a:latin typeface="Courier New" pitchFamily="49" charset="0"/>
              </a:rPr>
              <a:t>validateSelf</a:t>
            </a:r>
            <a:r>
              <a:rPr lang="de-DE" dirty="0">
                <a:latin typeface="Courier New" pitchFamily="49" charset="0"/>
              </a:rPr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,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und danach </a:t>
            </a:r>
            <a:r>
              <a:rPr lang="de-DE" dirty="0" err="1">
                <a:latin typeface="Courier New" pitchFamily="49" charset="0"/>
              </a:rPr>
              <a:t>validateDependents</a:t>
            </a:r>
            <a:r>
              <a:rPr lang="de-DE" dirty="0"/>
              <a:t>(</a:t>
            </a:r>
            <a:r>
              <a:rPr lang="de-DE" dirty="0" err="1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, </a:t>
            </a:r>
            <a:r>
              <a:rPr lang="de-DE" dirty="0" err="1">
                <a:latin typeface="Courier New" pitchFamily="49" charset="0"/>
              </a:rPr>
              <a:t>MessageLis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auf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in die </a:t>
            </a:r>
            <a:r>
              <a:rPr lang="de-DE" dirty="0" err="1">
                <a:latin typeface="Courier New" pitchFamily="49" charset="0"/>
              </a:rPr>
              <a:t>validateSelf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 die Aufrufe der im Modell definierten Regel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err="1"/>
              <a:t>valildateDependents</a:t>
            </a:r>
            <a:r>
              <a:rPr lang="de-DE" dirty="0"/>
              <a:t>  ruft die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n der Kinder einer Vertragsteilklasse auf, die mit dieser in einer Komposite Beziehung steh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omit kann durch den Aufruf der </a:t>
            </a:r>
            <a:r>
              <a:rPr lang="de-DE" dirty="0" err="1">
                <a:latin typeface="Courier New" pitchFamily="49" charset="0"/>
              </a:rPr>
              <a:t>validate</a:t>
            </a:r>
            <a:r>
              <a:rPr lang="de-DE" dirty="0">
                <a:latin typeface="Courier New" pitchFamily="49" charset="0"/>
              </a:rPr>
              <a:t>()</a:t>
            </a:r>
            <a:r>
              <a:rPr lang="de-DE" dirty="0"/>
              <a:t> Methode am Root die Prüfung einer gesamten Komposite Struktur z.B. eines Vertrages mit all seinen Teilen erfolgen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1264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56AD861-6757-4F84-846E-E744DE33B1DE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uskunftsfunktionen in Faktor-IPS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412875"/>
            <a:ext cx="7280275" cy="4244975"/>
          </a:xfrm>
          <a:ln/>
        </p:spPr>
        <p:txBody>
          <a:bodyPr/>
          <a:lstStyle/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llgem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generiert Auskunftsmethoden für Modellklassenattribute bei denen eine </a:t>
            </a:r>
            <a:r>
              <a:rPr lang="de-DE" dirty="0" err="1"/>
              <a:t>Wertemengeeinschränkung</a:t>
            </a:r>
            <a:r>
              <a:rPr lang="de-DE" dirty="0"/>
              <a:t> angegeben is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einen Wertebereich wird eine Methode </a:t>
            </a:r>
            <a:r>
              <a:rPr lang="de-DE" dirty="0" err="1" smtClean="0">
                <a:latin typeface="Courier New" pitchFamily="49" charset="0"/>
              </a:rPr>
              <a:t>getRangeFor</a:t>
            </a:r>
            <a:r>
              <a:rPr lang="de-DE" dirty="0" smtClean="0">
                <a:latin typeface="Courier New" pitchFamily="49" charset="0"/>
              </a:rPr>
              <a:t>[</a:t>
            </a:r>
            <a:r>
              <a:rPr lang="de-DE" dirty="0" smtClean="0">
                <a:latin typeface="Courier New" pitchFamily="49" charset="0"/>
              </a:rPr>
              <a:t>Attributname](</a:t>
            </a:r>
            <a:r>
              <a:rPr lang="de-DE" dirty="0" err="1" smtClean="0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generier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eine Menge von diskreten Werten (Aufzählungstyp, einzelne Werte eines Typs) wird eine Methode </a:t>
            </a:r>
            <a:r>
              <a:rPr lang="de-DE" dirty="0" err="1" smtClean="0">
                <a:latin typeface="Courier New" pitchFamily="49" charset="0"/>
              </a:rPr>
              <a:t>getAllowedValuesFor</a:t>
            </a:r>
            <a:r>
              <a:rPr lang="de-DE" dirty="0" smtClean="0">
                <a:latin typeface="Courier New" pitchFamily="49" charset="0"/>
              </a:rPr>
              <a:t>[Attributname](</a:t>
            </a:r>
            <a:r>
              <a:rPr lang="de-DE" dirty="0" err="1" smtClean="0">
                <a:latin typeface="Courier New" pitchFamily="49" charset="0"/>
              </a:rPr>
              <a:t>IValidationContext</a:t>
            </a:r>
            <a:r>
              <a:rPr lang="de-DE" dirty="0">
                <a:latin typeface="Courier New" pitchFamily="49" charset="0"/>
              </a:rPr>
              <a:t>)</a:t>
            </a:r>
            <a:r>
              <a:rPr lang="de-DE" dirty="0"/>
              <a:t> generiert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ktor-IPS verwendet die Auskunftsmethoden für die Generierung der Bedingung der Prüfung eines Vertragsteilattributs. (und kann somit diese Art von Prüfungen vollständig generieren)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Produktkonfiguration von Auskunftsmethod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ertebereiche und Wertemengen von Attribute können in Produktbausteinen angegeben werd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92876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FFAE81B-6164-4B85-B504-85FCEBC46A95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Übungen zu Kapitel III.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G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3086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6</Words>
  <Application>Microsoft Office PowerPoint</Application>
  <PresentationFormat>Bildschirmpräsentation (4:3)</PresentationFormat>
  <Paragraphs>76</Paragraphs>
  <Slides>8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Master - ConVista General </vt:lpstr>
      <vt:lpstr>Inhalt - Modellierung &amp; Produktdefinition</vt:lpstr>
      <vt:lpstr>Was kann plausibilisiert werden?</vt:lpstr>
      <vt:lpstr>Aspekte einer Plausibilisierung</vt:lpstr>
      <vt:lpstr>Prüfungen in Faktor-IPS</vt:lpstr>
      <vt:lpstr>Faktor-IPS Generat von Regeln</vt:lpstr>
      <vt:lpstr>Faktor-IPS Regel Framework</vt:lpstr>
      <vt:lpstr>Auskunftsfunktionen in Faktor-IPS</vt:lpstr>
      <vt:lpstr>Übungen zu Kapitel III.G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27</cp:revision>
  <cp:lastPrinted>2012-11-19T11:42:38Z</cp:lastPrinted>
  <dcterms:created xsi:type="dcterms:W3CDTF">2005-03-22T09:36:15Z</dcterms:created>
  <dcterms:modified xsi:type="dcterms:W3CDTF">2015-04-15T06:18:42Z</dcterms:modified>
  <cp:category>Master</cp:category>
  <cp:contentStatus>RELEASED</cp:contentStatus>
</cp:coreProperties>
</file>